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4" r:id="rId2"/>
  </p:sldMasterIdLst>
  <p:notesMasterIdLst>
    <p:notesMasterId r:id="rId13"/>
  </p:notesMasterIdLst>
  <p:handoutMasterIdLst>
    <p:handoutMasterId r:id="rId14"/>
  </p:handoutMasterIdLst>
  <p:sldIdLst>
    <p:sldId id="1277" r:id="rId3"/>
    <p:sldId id="1293" r:id="rId4"/>
    <p:sldId id="1294" r:id="rId5"/>
    <p:sldId id="1296" r:id="rId6"/>
    <p:sldId id="1371" r:id="rId7"/>
    <p:sldId id="1370" r:id="rId8"/>
    <p:sldId id="1343" r:id="rId9"/>
    <p:sldId id="1344" r:id="rId10"/>
    <p:sldId id="1345" r:id="rId11"/>
    <p:sldId id="1346" r:id="rId12"/>
  </p:sldIdLst>
  <p:sldSz cx="12192000" cy="6858000"/>
  <p:notesSz cx="6950075" cy="9236075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FEEC50D9-8969-43BB-8724-35975469CB2C}">
          <p14:sldIdLst>
            <p14:sldId id="1277"/>
            <p14:sldId id="1293"/>
            <p14:sldId id="1294"/>
            <p14:sldId id="1296"/>
            <p14:sldId id="1371"/>
            <p14:sldId id="1370"/>
            <p14:sldId id="1343"/>
            <p14:sldId id="1344"/>
            <p14:sldId id="1345"/>
            <p14:sldId id="134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yselý Zdeněk Mgr." initials="KZM" lastIdx="1" clrIdx="0">
    <p:extLst>
      <p:ext uri="{19B8F6BF-5375-455C-9EA6-DF929625EA0E}">
        <p15:presenceInfo xmlns:p15="http://schemas.microsoft.com/office/powerpoint/2012/main" userId="S::kyselyz@mzcr.cz::e6a1abba-87fa-4d0d-8be7-ec655e9b70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B69"/>
    <a:srgbClr val="FF7575"/>
    <a:srgbClr val="FD783D"/>
    <a:srgbClr val="FF572F"/>
    <a:srgbClr val="FF7453"/>
    <a:srgbClr val="FF5D37"/>
    <a:srgbClr val="F1592F"/>
    <a:srgbClr val="FF3300"/>
    <a:srgbClr val="FFD243"/>
    <a:srgbClr val="FF7A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Styl s motivem 2 – zvýraznění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181" autoAdjust="0"/>
    <p:restoredTop sz="94548" autoAdjust="0"/>
  </p:normalViewPr>
  <p:slideViewPr>
    <p:cSldViewPr snapToGrid="0">
      <p:cViewPr varScale="1">
        <p:scale>
          <a:sx n="83" d="100"/>
          <a:sy n="83" d="100"/>
        </p:scale>
        <p:origin x="864" y="6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78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936137" y="0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88527-8C78-4670-A74D-468E88FB2658}" type="datetimeFigureOut">
              <a:rPr lang="cs-CZ" smtClean="0"/>
              <a:t>12.12.2021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1" y="8772414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936137" y="8772414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5D0693-75AC-4F46-BBF1-1CD96A6AD73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04647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936767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2.12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704850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936767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BFCB68-01F3-4028-943D-0453D67E25ED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419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45150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62994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538340"/>
            <a:ext cx="10375900" cy="4568394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4418"/>
            <a:ext cx="432000" cy="4335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Nadpis 1"/>
          <p:cNvSpPr>
            <a:spLocks noGrp="1"/>
          </p:cNvSpPr>
          <p:nvPr>
            <p:ph type="title"/>
          </p:nvPr>
        </p:nvSpPr>
        <p:spPr>
          <a:xfrm>
            <a:off x="838201" y="165100"/>
            <a:ext cx="8001000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cxnSp>
        <p:nvCxnSpPr>
          <p:cNvPr id="13" name="Přímá spojnice 12"/>
          <p:cNvCxnSpPr/>
          <p:nvPr userDrawn="1"/>
        </p:nvCxnSpPr>
        <p:spPr>
          <a:xfrm flipV="1">
            <a:off x="0" y="1085179"/>
            <a:ext cx="12192000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bdélník 7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2" name="Obrázek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30052" y="97662"/>
            <a:ext cx="2661948" cy="91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735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 userDrawn="1"/>
        </p:nvSpPr>
        <p:spPr>
          <a:xfrm>
            <a:off x="8127997" y="0"/>
            <a:ext cx="406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Obdélník 11"/>
          <p:cNvSpPr/>
          <p:nvPr userDrawn="1"/>
        </p:nvSpPr>
        <p:spPr>
          <a:xfrm>
            <a:off x="8127997" y="4673599"/>
            <a:ext cx="4064003" cy="218440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539003" y="1135062"/>
            <a:ext cx="3241991" cy="1757362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32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pPr lvl="0" algn="ctr"/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1921" y="644672"/>
            <a:ext cx="6483982" cy="5654528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2400" dirty="0" smtClean="0"/>
            </a:lvl1pPr>
          </a:lstStyle>
          <a:p>
            <a:pPr marL="0" lvl="0" indent="0" algn="ctr">
              <a:buNone/>
            </a:pPr>
            <a:r>
              <a:rPr lang="cs-CZ" dirty="0"/>
              <a:t>Kliknutím lze upravit styly předlohy textu.</a:t>
            </a: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0369" y="5986922"/>
            <a:ext cx="2430126" cy="852293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9" name="Přímá spojnice 8"/>
          <p:cNvCxnSpPr/>
          <p:nvPr userDrawn="1"/>
        </p:nvCxnSpPr>
        <p:spPr>
          <a:xfrm flipV="1">
            <a:off x="8128000" y="0"/>
            <a:ext cx="0" cy="685800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Skupina 15"/>
          <p:cNvGrpSpPr/>
          <p:nvPr userDrawn="1"/>
        </p:nvGrpSpPr>
        <p:grpSpPr>
          <a:xfrm>
            <a:off x="9167650" y="3681252"/>
            <a:ext cx="1984694" cy="1984694"/>
            <a:chOff x="-4198256" y="-1833664"/>
            <a:chExt cx="6858000" cy="6858000"/>
          </a:xfrm>
        </p:grpSpPr>
        <p:sp>
          <p:nvSpPr>
            <p:cNvPr id="17" name="Ovál 16"/>
            <p:cNvSpPr/>
            <p:nvPr/>
          </p:nvSpPr>
          <p:spPr>
            <a:xfrm>
              <a:off x="-3308310" y="-943718"/>
              <a:ext cx="5049080" cy="504908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" name="Obrázek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198256" y="-1833664"/>
              <a:ext cx="6858000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4455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Obdélník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 userDrawn="1"/>
        </p:nvSpPr>
        <p:spPr>
          <a:xfrm>
            <a:off x="1511300" y="6244853"/>
            <a:ext cx="10680700" cy="613147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44853"/>
            <a:ext cx="1778000" cy="613147"/>
          </a:xfrm>
          <a:prstGeom prst="rect">
            <a:avLst/>
          </a:prstGeom>
        </p:spPr>
      </p:pic>
      <p:grpSp>
        <p:nvGrpSpPr>
          <p:cNvPr id="3" name="Skupina 2"/>
          <p:cNvGrpSpPr/>
          <p:nvPr userDrawn="1"/>
        </p:nvGrpSpPr>
        <p:grpSpPr>
          <a:xfrm>
            <a:off x="11023600" y="5681975"/>
            <a:ext cx="1041400" cy="1074956"/>
            <a:chOff x="10733618" y="5437836"/>
            <a:chExt cx="1375832" cy="1420164"/>
          </a:xfrm>
        </p:grpSpPr>
        <p:sp>
          <p:nvSpPr>
            <p:cNvPr id="8" name="Ovál 7"/>
            <p:cNvSpPr/>
            <p:nvPr userDrawn="1"/>
          </p:nvSpPr>
          <p:spPr>
            <a:xfrm>
              <a:off x="10974122" y="5757656"/>
              <a:ext cx="894824" cy="894824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33618" y="5437836"/>
              <a:ext cx="1375832" cy="14201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82659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052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/>
          <p:cNvSpPr/>
          <p:nvPr userDrawn="1"/>
        </p:nvSpPr>
        <p:spPr>
          <a:xfrm rot="10800000">
            <a:off x="0" y="-1"/>
            <a:ext cx="12192000" cy="6858000"/>
          </a:xfrm>
          <a:prstGeom prst="rect">
            <a:avLst/>
          </a:prstGeom>
          <a:gradFill flip="none" rotWithShape="1">
            <a:gsLst>
              <a:gs pos="6000">
                <a:schemeClr val="tx1">
                  <a:lumMod val="65000"/>
                  <a:lumOff val="35000"/>
                </a:schemeClr>
              </a:gs>
              <a:gs pos="27000">
                <a:schemeClr val="tx1">
                  <a:lumMod val="85000"/>
                  <a:lumOff val="15000"/>
                </a:schemeClr>
              </a:gs>
              <a:gs pos="63000">
                <a:srgbClr val="00000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Obrázek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94424"/>
            <a:ext cx="2654300" cy="663576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600" y="2249716"/>
            <a:ext cx="2336800" cy="2336800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Obdélník 1"/>
          <p:cNvSpPr/>
          <p:nvPr userDrawn="1"/>
        </p:nvSpPr>
        <p:spPr>
          <a:xfrm>
            <a:off x="4221769" y="4683938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8581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832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2189213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Obrázek 3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Obdélník 2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  <a:alpha val="90000"/>
                </a:schemeClr>
              </a:gs>
              <a:gs pos="83000">
                <a:schemeClr val="accent3">
                  <a:lumMod val="45000"/>
                  <a:lumOff val="55000"/>
                  <a:alpha val="90000"/>
                </a:schemeClr>
              </a:gs>
              <a:gs pos="100000">
                <a:schemeClr val="accent3">
                  <a:lumMod val="30000"/>
                  <a:lumOff val="70000"/>
                  <a:alpha val="90000"/>
                </a:schemeClr>
              </a:gs>
            </a:gsLst>
            <a:lin ang="15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364343" y="3700284"/>
            <a:ext cx="9144000" cy="131522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64341" y="5107060"/>
            <a:ext cx="9144000" cy="99882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lze upravit styl předlohy.</a:t>
            </a:r>
          </a:p>
        </p:txBody>
      </p:sp>
      <p:cxnSp>
        <p:nvCxnSpPr>
          <p:cNvPr id="7" name="Přímá spojnice 6"/>
          <p:cNvCxnSpPr/>
          <p:nvPr userDrawn="1"/>
        </p:nvCxnSpPr>
        <p:spPr>
          <a:xfrm>
            <a:off x="20409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10220324" y="0"/>
            <a:ext cx="1971675" cy="365125"/>
          </a:xfrm>
          <a:noFill/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2" name="Přímá spojnice 21"/>
          <p:cNvCxnSpPr/>
          <p:nvPr userDrawn="1"/>
        </p:nvCxnSpPr>
        <p:spPr>
          <a:xfrm>
            <a:off x="7264966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Obrázek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3653" y="1319035"/>
            <a:ext cx="1984694" cy="1984694"/>
          </a:xfrm>
          <a:prstGeom prst="rect">
            <a:avLst/>
          </a:prstGeom>
        </p:spPr>
      </p:pic>
      <p:sp>
        <p:nvSpPr>
          <p:cNvPr id="6" name="Kosoúhelník 5"/>
          <p:cNvSpPr/>
          <p:nvPr userDrawn="1"/>
        </p:nvSpPr>
        <p:spPr>
          <a:xfrm rot="10800000">
            <a:off x="1503900" y="-12894"/>
            <a:ext cx="2438400" cy="900000"/>
          </a:xfrm>
          <a:prstGeom prst="parallelogram">
            <a:avLst>
              <a:gd name="adj" fmla="val 86251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667" y="-12894"/>
            <a:ext cx="280196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165100"/>
            <a:ext cx="9379857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755396"/>
            <a:ext cx="10375900" cy="4351338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cxnSp>
        <p:nvCxnSpPr>
          <p:cNvPr id="8" name="Přímá spojnice 7"/>
          <p:cNvCxnSpPr/>
          <p:nvPr userDrawn="1"/>
        </p:nvCxnSpPr>
        <p:spPr>
          <a:xfrm flipV="1">
            <a:off x="0" y="1085178"/>
            <a:ext cx="10218057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2" name="Přímá spojnice 11"/>
          <p:cNvCxnSpPr/>
          <p:nvPr userDrawn="1"/>
        </p:nvCxnSpPr>
        <p:spPr>
          <a:xfrm>
            <a:off x="11826903" y="1085177"/>
            <a:ext cx="365097" cy="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9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15" name="Obráze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781" y="414958"/>
            <a:ext cx="1340438" cy="134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706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61" r:id="rId4"/>
    <p:sldLayoutId id="2147483658" r:id="rId5"/>
    <p:sldLayoutId id="2147483662" r:id="rId6"/>
    <p:sldLayoutId id="2147483760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320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11771313" y="6443663"/>
            <a:ext cx="42068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Nadpis 1"/>
          <p:cNvSpPr>
            <a:spLocks noGrp="1"/>
          </p:cNvSpPr>
          <p:nvPr>
            <p:ph type="ctrTitle"/>
          </p:nvPr>
        </p:nvSpPr>
        <p:spPr>
          <a:xfrm>
            <a:off x="1368547" y="3690851"/>
            <a:ext cx="9842263" cy="1829090"/>
          </a:xfrm>
        </p:spPr>
        <p:txBody>
          <a:bodyPr>
            <a:normAutofit fontScale="90000"/>
          </a:bodyPr>
          <a:lstStyle/>
          <a:p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ční briefing ICŘT </a:t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i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rodní dispečink lůžkové péče</a:t>
            </a: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cs-CZ" b="1" i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Podnadpis 2"/>
          <p:cNvSpPr>
            <a:spLocks noGrp="1"/>
          </p:cNvSpPr>
          <p:nvPr>
            <p:ph type="subTitle" idx="1"/>
          </p:nvPr>
        </p:nvSpPr>
        <p:spPr>
          <a:xfrm>
            <a:off x="1659489" y="6344687"/>
            <a:ext cx="9144000" cy="513313"/>
          </a:xfrm>
        </p:spPr>
        <p:txBody>
          <a:bodyPr>
            <a:normAutofit/>
          </a:bodyPr>
          <a:lstStyle/>
          <a:p>
            <a:r>
              <a:rPr lang="cs-CZ" b="1" dirty="0" smtClean="0"/>
              <a:t>12. </a:t>
            </a:r>
            <a:r>
              <a:rPr lang="cs-CZ" b="1" dirty="0" smtClean="0"/>
              <a:t>prosince 2021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13847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5554947"/>
              </p:ext>
            </p:extLst>
          </p:nvPr>
        </p:nvGraphicFramePr>
        <p:xfrm>
          <a:off x="372867" y="838718"/>
          <a:ext cx="11435203" cy="3618504"/>
        </p:xfrm>
        <a:graphic>
          <a:graphicData uri="http://schemas.openxmlformats.org/drawingml/2006/table">
            <a:tbl>
              <a:tblPr firstRow="1" firstCol="1" bandRow="1"/>
              <a:tblGrid>
                <a:gridCol w="1403588">
                  <a:extLst>
                    <a:ext uri="{9D8B030D-6E8A-4147-A177-3AD203B41FA5}">
                      <a16:colId xmlns:a16="http://schemas.microsoft.com/office/drawing/2014/main" val="3544378427"/>
                    </a:ext>
                  </a:extLst>
                </a:gridCol>
                <a:gridCol w="2175930">
                  <a:extLst>
                    <a:ext uri="{9D8B030D-6E8A-4147-A177-3AD203B41FA5}">
                      <a16:colId xmlns:a16="http://schemas.microsoft.com/office/drawing/2014/main" val="2335077237"/>
                    </a:ext>
                  </a:extLst>
                </a:gridCol>
                <a:gridCol w="2426518">
                  <a:extLst>
                    <a:ext uri="{9D8B030D-6E8A-4147-A177-3AD203B41FA5}">
                      <a16:colId xmlns:a16="http://schemas.microsoft.com/office/drawing/2014/main" val="1383355635"/>
                    </a:ext>
                  </a:extLst>
                </a:gridCol>
                <a:gridCol w="2084806">
                  <a:extLst>
                    <a:ext uri="{9D8B030D-6E8A-4147-A177-3AD203B41FA5}">
                      <a16:colId xmlns:a16="http://schemas.microsoft.com/office/drawing/2014/main" val="142418389"/>
                    </a:ext>
                  </a:extLst>
                </a:gridCol>
                <a:gridCol w="3344361">
                  <a:extLst>
                    <a:ext uri="{9D8B030D-6E8A-4147-A177-3AD203B41FA5}">
                      <a16:colId xmlns:a16="http://schemas.microsoft.com/office/drawing/2014/main" val="413358982"/>
                    </a:ext>
                  </a:extLst>
                </a:gridCol>
              </a:tblGrid>
              <a:tr h="6242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208484"/>
                  </a:ext>
                </a:extLst>
              </a:tr>
              <a:tr h="12678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Ústecký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čet C19 pacientů na standardních odděleních posledních 10 dnů osciluje nebo mírně klesá, narůstá počet pacientů na C19 JIP, včetně potřeby UPV. 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0712985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Zlín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kraji je pokles denního lineární nárůstu o cca 5-7 pacientů denně na standardních odd.,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atím méně na JIP, ty jsou plné především v menších nemocnicích (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alMez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Vsetín, U.H.)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blém personálu je ve všech zařízeních – extrémní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U.Hradišt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180 PN, z toho 48 pro COVID)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45314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94208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974794" y="2248063"/>
            <a:ext cx="292330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Obsazená lůžka IP C+ pacienty k </a:t>
            </a:r>
          </a:p>
          <a:p>
            <a:pPr algn="ctr"/>
            <a:r>
              <a:rPr lang="cs-CZ" b="1" dirty="0" smtClean="0"/>
              <a:t>12.12.2021 0:28</a:t>
            </a:r>
            <a:endParaRPr lang="cs-CZ" b="1" dirty="0" smtClean="0"/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953</a:t>
            </a:r>
            <a:endParaRPr lang="cs-CZ" b="1" dirty="0" smtClean="0"/>
          </a:p>
          <a:p>
            <a:pPr algn="ctr"/>
            <a:endParaRPr lang="cs-CZ" sz="2000" b="1" dirty="0"/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9774679"/>
              </p:ext>
            </p:extLst>
          </p:nvPr>
        </p:nvGraphicFramePr>
        <p:xfrm>
          <a:off x="332816" y="1003591"/>
          <a:ext cx="9217585" cy="5289639"/>
        </p:xfrm>
        <a:graphic>
          <a:graphicData uri="http://schemas.openxmlformats.org/drawingml/2006/table">
            <a:tbl>
              <a:tblPr/>
              <a:tblGrid>
                <a:gridCol w="2078016">
                  <a:extLst>
                    <a:ext uri="{9D8B030D-6E8A-4147-A177-3AD203B41FA5}">
                      <a16:colId xmlns:a16="http://schemas.microsoft.com/office/drawing/2014/main" val="410715499"/>
                    </a:ext>
                  </a:extLst>
                </a:gridCol>
                <a:gridCol w="1183506">
                  <a:extLst>
                    <a:ext uri="{9D8B030D-6E8A-4147-A177-3AD203B41FA5}">
                      <a16:colId xmlns:a16="http://schemas.microsoft.com/office/drawing/2014/main" val="1081202133"/>
                    </a:ext>
                  </a:extLst>
                </a:gridCol>
                <a:gridCol w="1169745">
                  <a:extLst>
                    <a:ext uri="{9D8B030D-6E8A-4147-A177-3AD203B41FA5}">
                      <a16:colId xmlns:a16="http://schemas.microsoft.com/office/drawing/2014/main" val="3989495605"/>
                    </a:ext>
                  </a:extLst>
                </a:gridCol>
                <a:gridCol w="1169745">
                  <a:extLst>
                    <a:ext uri="{9D8B030D-6E8A-4147-A177-3AD203B41FA5}">
                      <a16:colId xmlns:a16="http://schemas.microsoft.com/office/drawing/2014/main" val="134938977"/>
                    </a:ext>
                  </a:extLst>
                </a:gridCol>
                <a:gridCol w="1224791">
                  <a:extLst>
                    <a:ext uri="{9D8B030D-6E8A-4147-A177-3AD203B41FA5}">
                      <a16:colId xmlns:a16="http://schemas.microsoft.com/office/drawing/2014/main" val="68716940"/>
                    </a:ext>
                  </a:extLst>
                </a:gridCol>
                <a:gridCol w="974328">
                  <a:extLst>
                    <a:ext uri="{9D8B030D-6E8A-4147-A177-3AD203B41FA5}">
                      <a16:colId xmlns:a16="http://schemas.microsoft.com/office/drawing/2014/main" val="3326261293"/>
                    </a:ext>
                  </a:extLst>
                </a:gridCol>
                <a:gridCol w="1417454">
                  <a:extLst>
                    <a:ext uri="{9D8B030D-6E8A-4147-A177-3AD203B41FA5}">
                      <a16:colId xmlns:a16="http://schemas.microsoft.com/office/drawing/2014/main" val="2914695573"/>
                    </a:ext>
                  </a:extLst>
                </a:gridCol>
              </a:tblGrid>
              <a:tr h="175660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</a:t>
                      </a:r>
                      <a:r>
                        <a:rPr lang="cs-CZ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ddělení</a:t>
                      </a:r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4366051"/>
                  </a:ext>
                </a:extLst>
              </a:tr>
              <a:tr h="175660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(ARO + JIP) v ČR k 12.12. 2021, 15:00 h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9089951"/>
                  </a:ext>
                </a:extLst>
              </a:tr>
              <a:tr h="145546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3814585"/>
                  </a:ext>
                </a:extLst>
              </a:tr>
              <a:tr h="15558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ůžka IP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2083360"/>
                  </a:ext>
                </a:extLst>
              </a:tr>
              <a:tr h="60728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05128399"/>
                  </a:ext>
                </a:extLst>
              </a:tr>
              <a:tr h="15056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5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0130571"/>
                  </a:ext>
                </a:extLst>
              </a:tr>
              <a:tr h="15056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14270967"/>
                  </a:ext>
                </a:extLst>
              </a:tr>
              <a:tr h="15056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66345766"/>
                  </a:ext>
                </a:extLst>
              </a:tr>
              <a:tr h="15056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9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21597633"/>
                  </a:ext>
                </a:extLst>
              </a:tr>
              <a:tr h="15683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4571551"/>
                  </a:ext>
                </a:extLst>
              </a:tr>
              <a:tr h="15056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3729941"/>
                  </a:ext>
                </a:extLst>
              </a:tr>
              <a:tr h="15056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8852336"/>
                  </a:ext>
                </a:extLst>
              </a:tr>
              <a:tr h="15056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15110703"/>
                  </a:ext>
                </a:extLst>
              </a:tr>
              <a:tr h="15056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08157846"/>
                  </a:ext>
                </a:extLst>
              </a:tr>
              <a:tr h="15056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4176366"/>
                  </a:ext>
                </a:extLst>
              </a:tr>
              <a:tr h="15056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2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9255759"/>
                  </a:ext>
                </a:extLst>
              </a:tr>
              <a:tr h="15056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6205339"/>
                  </a:ext>
                </a:extLst>
              </a:tr>
              <a:tr h="15056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868610"/>
                  </a:ext>
                </a:extLst>
              </a:tr>
              <a:tr h="1693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9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63675081"/>
                  </a:ext>
                </a:extLst>
              </a:tr>
              <a:tr h="1631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32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6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9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3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994966"/>
                  </a:ext>
                </a:extLst>
              </a:tr>
              <a:tr h="213301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5862123"/>
                  </a:ext>
                </a:extLst>
              </a:tr>
              <a:tr h="145546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3176003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0123608"/>
                  </a:ext>
                </a:extLst>
              </a:tr>
              <a:tr h="150565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x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298820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571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9001173" y="3130491"/>
            <a:ext cx="29233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IP jsou umístěna na neinfekčních odděleních IP.</a:t>
            </a: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9659769"/>
              </p:ext>
            </p:extLst>
          </p:nvPr>
        </p:nvGraphicFramePr>
        <p:xfrm>
          <a:off x="203509" y="964447"/>
          <a:ext cx="9199109" cy="5404585"/>
        </p:xfrm>
        <a:graphic>
          <a:graphicData uri="http://schemas.openxmlformats.org/drawingml/2006/table">
            <a:tbl>
              <a:tblPr/>
              <a:tblGrid>
                <a:gridCol w="2073850">
                  <a:extLst>
                    <a:ext uri="{9D8B030D-6E8A-4147-A177-3AD203B41FA5}">
                      <a16:colId xmlns:a16="http://schemas.microsoft.com/office/drawing/2014/main" val="3241296152"/>
                    </a:ext>
                  </a:extLst>
                </a:gridCol>
                <a:gridCol w="1181134">
                  <a:extLst>
                    <a:ext uri="{9D8B030D-6E8A-4147-A177-3AD203B41FA5}">
                      <a16:colId xmlns:a16="http://schemas.microsoft.com/office/drawing/2014/main" val="587684002"/>
                    </a:ext>
                  </a:extLst>
                </a:gridCol>
                <a:gridCol w="1167400">
                  <a:extLst>
                    <a:ext uri="{9D8B030D-6E8A-4147-A177-3AD203B41FA5}">
                      <a16:colId xmlns:a16="http://schemas.microsoft.com/office/drawing/2014/main" val="2370831712"/>
                    </a:ext>
                  </a:extLst>
                </a:gridCol>
                <a:gridCol w="1167400">
                  <a:extLst>
                    <a:ext uri="{9D8B030D-6E8A-4147-A177-3AD203B41FA5}">
                      <a16:colId xmlns:a16="http://schemas.microsoft.com/office/drawing/2014/main" val="2319567766"/>
                    </a:ext>
                  </a:extLst>
                </a:gridCol>
                <a:gridCol w="1222336">
                  <a:extLst>
                    <a:ext uri="{9D8B030D-6E8A-4147-A177-3AD203B41FA5}">
                      <a16:colId xmlns:a16="http://schemas.microsoft.com/office/drawing/2014/main" val="4125865705"/>
                    </a:ext>
                  </a:extLst>
                </a:gridCol>
                <a:gridCol w="972376">
                  <a:extLst>
                    <a:ext uri="{9D8B030D-6E8A-4147-A177-3AD203B41FA5}">
                      <a16:colId xmlns:a16="http://schemas.microsoft.com/office/drawing/2014/main" val="965494880"/>
                    </a:ext>
                  </a:extLst>
                </a:gridCol>
                <a:gridCol w="1414613">
                  <a:extLst>
                    <a:ext uri="{9D8B030D-6E8A-4147-A177-3AD203B41FA5}">
                      <a16:colId xmlns:a16="http://schemas.microsoft.com/office/drawing/2014/main" val="1239416764"/>
                    </a:ext>
                  </a:extLst>
                </a:gridCol>
              </a:tblGrid>
              <a:tr h="186130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oddělení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717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5028927"/>
                  </a:ext>
                </a:extLst>
              </a:tr>
              <a:tr h="186130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na Infekčním oddělení (ARO + JIP) v ČR k 12.12. 2021, 15:00 h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070116"/>
                  </a:ext>
                </a:extLst>
              </a:tr>
              <a:tr h="186130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4032172"/>
                  </a:ext>
                </a:extLst>
              </a:tr>
              <a:tr h="18613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IP na Infekčním oddělení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8974842"/>
                  </a:ext>
                </a:extLst>
              </a:tr>
              <a:tr h="73050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8255145"/>
                  </a:ext>
                </a:extLst>
              </a:tr>
              <a:tr h="18613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8221816"/>
                  </a:ext>
                </a:extLst>
              </a:tr>
              <a:tr h="18613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64371733"/>
                  </a:ext>
                </a:extLst>
              </a:tr>
              <a:tr h="18613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769107"/>
                  </a:ext>
                </a:extLst>
              </a:tr>
              <a:tr h="18613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2441856"/>
                  </a:ext>
                </a:extLst>
              </a:tr>
              <a:tr h="18613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59705121"/>
                  </a:ext>
                </a:extLst>
              </a:tr>
              <a:tr h="18613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56090002"/>
                  </a:ext>
                </a:extLst>
              </a:tr>
              <a:tr h="18613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40762205"/>
                  </a:ext>
                </a:extLst>
              </a:tr>
              <a:tr h="18613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8249705"/>
                  </a:ext>
                </a:extLst>
              </a:tr>
              <a:tr h="18613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9510241"/>
                  </a:ext>
                </a:extLst>
              </a:tr>
              <a:tr h="18613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2403133"/>
                  </a:ext>
                </a:extLst>
              </a:tr>
              <a:tr h="18613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9115380"/>
                  </a:ext>
                </a:extLst>
              </a:tr>
              <a:tr h="18613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75281127"/>
                  </a:ext>
                </a:extLst>
              </a:tr>
              <a:tr h="18613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62207573"/>
                  </a:ext>
                </a:extLst>
              </a:tr>
              <a:tr h="18613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03846504"/>
                  </a:ext>
                </a:extLst>
              </a:tr>
              <a:tr h="18613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73554984"/>
                  </a:ext>
                </a:extLst>
              </a:tr>
              <a:tr h="186130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9898232"/>
                  </a:ext>
                </a:extLst>
              </a:tr>
              <a:tr h="186130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86968136"/>
                  </a:ext>
                </a:extLst>
              </a:tr>
              <a:tr h="186130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23119699"/>
                  </a:ext>
                </a:extLst>
              </a:tr>
              <a:tr h="186130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x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495812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123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0"/>
            <a:ext cx="9885238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9326849" y="2138810"/>
            <a:ext cx="278602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bsazená standardní</a:t>
            </a:r>
          </a:p>
          <a:p>
            <a:pPr algn="ctr"/>
            <a:r>
              <a:rPr lang="cs-CZ" b="1" dirty="0"/>
              <a:t> lůžka C+ </a:t>
            </a:r>
            <a:r>
              <a:rPr lang="cs-CZ" b="1" dirty="0" smtClean="0"/>
              <a:t>pacienty k </a:t>
            </a:r>
            <a:r>
              <a:rPr lang="cs-CZ" b="1" dirty="0" smtClean="0"/>
              <a:t>12.12.2021 0:28</a:t>
            </a:r>
            <a:endParaRPr lang="cs-CZ" b="1" dirty="0" smtClean="0"/>
          </a:p>
          <a:p>
            <a:pPr algn="ctr"/>
            <a:endParaRPr lang="cs-CZ" b="1" dirty="0"/>
          </a:p>
          <a:p>
            <a:pPr algn="ctr"/>
            <a:r>
              <a:rPr lang="cs-CZ" sz="2000" b="1" dirty="0" smtClean="0"/>
              <a:t>4</a:t>
            </a:r>
            <a:r>
              <a:rPr lang="cs-CZ" sz="2000" b="1" dirty="0"/>
              <a:t> </a:t>
            </a:r>
            <a:r>
              <a:rPr lang="cs-CZ" sz="2000" b="1" dirty="0" smtClean="0"/>
              <a:t>813</a:t>
            </a:r>
            <a:endParaRPr lang="cs-CZ" sz="2000" b="1" dirty="0"/>
          </a:p>
        </p:txBody>
      </p:sp>
      <p:sp>
        <p:nvSpPr>
          <p:cNvPr id="3" name="TextovéPole 2"/>
          <p:cNvSpPr txBox="1"/>
          <p:nvPr/>
        </p:nvSpPr>
        <p:spPr>
          <a:xfrm>
            <a:off x="9486005" y="4019099"/>
            <a:ext cx="24677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s kyslíkem jsou umístěna na standardních odděleních.</a:t>
            </a:r>
          </a:p>
        </p:txBody>
      </p:sp>
      <p:graphicFrame>
        <p:nvGraphicFramePr>
          <p:cNvPr id="9" name="Tabulka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7845185"/>
              </p:ext>
            </p:extLst>
          </p:nvPr>
        </p:nvGraphicFramePr>
        <p:xfrm>
          <a:off x="238262" y="1021941"/>
          <a:ext cx="9247743" cy="5281536"/>
        </p:xfrm>
        <a:graphic>
          <a:graphicData uri="http://schemas.openxmlformats.org/drawingml/2006/table">
            <a:tbl>
              <a:tblPr/>
              <a:tblGrid>
                <a:gridCol w="1758258">
                  <a:extLst>
                    <a:ext uri="{9D8B030D-6E8A-4147-A177-3AD203B41FA5}">
                      <a16:colId xmlns:a16="http://schemas.microsoft.com/office/drawing/2014/main" val="3992654720"/>
                    </a:ext>
                  </a:extLst>
                </a:gridCol>
                <a:gridCol w="1001393">
                  <a:extLst>
                    <a:ext uri="{9D8B030D-6E8A-4147-A177-3AD203B41FA5}">
                      <a16:colId xmlns:a16="http://schemas.microsoft.com/office/drawing/2014/main" val="1342062026"/>
                    </a:ext>
                  </a:extLst>
                </a:gridCol>
                <a:gridCol w="989748">
                  <a:extLst>
                    <a:ext uri="{9D8B030D-6E8A-4147-A177-3AD203B41FA5}">
                      <a16:colId xmlns:a16="http://schemas.microsoft.com/office/drawing/2014/main" val="2135637588"/>
                    </a:ext>
                  </a:extLst>
                </a:gridCol>
                <a:gridCol w="989748">
                  <a:extLst>
                    <a:ext uri="{9D8B030D-6E8A-4147-A177-3AD203B41FA5}">
                      <a16:colId xmlns:a16="http://schemas.microsoft.com/office/drawing/2014/main" val="693724380"/>
                    </a:ext>
                  </a:extLst>
                </a:gridCol>
                <a:gridCol w="1036325">
                  <a:extLst>
                    <a:ext uri="{9D8B030D-6E8A-4147-A177-3AD203B41FA5}">
                      <a16:colId xmlns:a16="http://schemas.microsoft.com/office/drawing/2014/main" val="1263655259"/>
                    </a:ext>
                  </a:extLst>
                </a:gridCol>
                <a:gridCol w="1199343">
                  <a:extLst>
                    <a:ext uri="{9D8B030D-6E8A-4147-A177-3AD203B41FA5}">
                      <a16:colId xmlns:a16="http://schemas.microsoft.com/office/drawing/2014/main" val="3349100378"/>
                    </a:ext>
                  </a:extLst>
                </a:gridCol>
                <a:gridCol w="957145">
                  <a:extLst>
                    <a:ext uri="{9D8B030D-6E8A-4147-A177-3AD203B41FA5}">
                      <a16:colId xmlns:a16="http://schemas.microsoft.com/office/drawing/2014/main" val="2687517037"/>
                    </a:ext>
                  </a:extLst>
                </a:gridCol>
                <a:gridCol w="1315783">
                  <a:extLst>
                    <a:ext uri="{9D8B030D-6E8A-4147-A177-3AD203B41FA5}">
                      <a16:colId xmlns:a16="http://schemas.microsoft.com/office/drawing/2014/main" val="1224876109"/>
                    </a:ext>
                  </a:extLst>
                </a:gridCol>
              </a:tblGrid>
              <a:tr h="190193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a infekční oddělení</a:t>
                      </a: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42154981"/>
                  </a:ext>
                </a:extLst>
              </a:tr>
              <a:tr h="190193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12.12. 2021, 15:00 h</a:t>
                      </a: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3006643"/>
                  </a:ext>
                </a:extLst>
              </a:tr>
              <a:tr h="16845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0809523"/>
                  </a:ext>
                </a:extLst>
              </a:tr>
              <a:tr h="19019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tní lůžka na Infekčním oddělení s O</a:t>
                      </a:r>
                      <a:r>
                        <a:rPr lang="pl-PL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pl-PL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86850419"/>
                  </a:ext>
                </a:extLst>
              </a:tr>
              <a:tr h="49450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standardní lůžka 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na Infekčním oddělení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8901508"/>
                  </a:ext>
                </a:extLst>
              </a:tr>
              <a:tr h="1630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54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3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9542728"/>
                  </a:ext>
                </a:extLst>
              </a:tr>
              <a:tr h="1630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86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8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733600"/>
                  </a:ext>
                </a:extLst>
              </a:tr>
              <a:tr h="1630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4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2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4104073"/>
                  </a:ext>
                </a:extLst>
              </a:tr>
              <a:tr h="1630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15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2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434" marR="5434" marT="543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2753704"/>
                  </a:ext>
                </a:extLst>
              </a:tr>
              <a:tr h="1630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50954360"/>
                  </a:ext>
                </a:extLst>
              </a:tr>
              <a:tr h="1630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05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5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434" marR="5434" marT="543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52419937"/>
                  </a:ext>
                </a:extLst>
              </a:tr>
              <a:tr h="1630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3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41113092"/>
                  </a:ext>
                </a:extLst>
              </a:tr>
              <a:tr h="1630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02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9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0570336"/>
                  </a:ext>
                </a:extLst>
              </a:tr>
              <a:tr h="1630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9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8445870"/>
                  </a:ext>
                </a:extLst>
              </a:tr>
              <a:tr h="1630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9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7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5119974"/>
                  </a:ext>
                </a:extLst>
              </a:tr>
              <a:tr h="1630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23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2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6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8509135"/>
                  </a:ext>
                </a:extLst>
              </a:tr>
              <a:tr h="1630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58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7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8739539"/>
                  </a:ext>
                </a:extLst>
              </a:tr>
              <a:tr h="1630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2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1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579666"/>
                  </a:ext>
                </a:extLst>
              </a:tr>
              <a:tr h="16845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4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4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5434" marR="5434" marT="543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74203739"/>
                  </a:ext>
                </a:extLst>
              </a:tr>
              <a:tr h="1834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762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14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7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63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3418780"/>
                  </a:ext>
                </a:extLst>
              </a:tr>
              <a:tr h="163022">
                <a:tc gridSpan="7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9598690"/>
                  </a:ext>
                </a:extLst>
              </a:tr>
              <a:tr h="157588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2987258"/>
                  </a:ext>
                </a:extLst>
              </a:tr>
              <a:tr h="16302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37548743"/>
                  </a:ext>
                </a:extLst>
              </a:tr>
              <a:tr h="163022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aktualizací starší 48 hod.: </a:t>
                      </a: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x</a:t>
                      </a: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484959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316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37394"/>
            <a:ext cx="9885238" cy="896492"/>
          </a:xfrm>
        </p:spPr>
        <p:txBody>
          <a:bodyPr>
            <a:normAutofit/>
          </a:bodyPr>
          <a:lstStyle/>
          <a:p>
            <a:r>
              <a:rPr lang="cs-CZ" dirty="0" smtClean="0"/>
              <a:t>NDLP – Přehled hospitalizací C+ k 10.12.2021 0:30 hod.</a:t>
            </a:r>
            <a:endParaRPr lang="cs-CZ" sz="2800" dirty="0"/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718006"/>
              </p:ext>
            </p:extLst>
          </p:nvPr>
        </p:nvGraphicFramePr>
        <p:xfrm>
          <a:off x="879854" y="1378034"/>
          <a:ext cx="8652072" cy="32678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3018">
                  <a:extLst>
                    <a:ext uri="{9D8B030D-6E8A-4147-A177-3AD203B41FA5}">
                      <a16:colId xmlns:a16="http://schemas.microsoft.com/office/drawing/2014/main" val="2672105997"/>
                    </a:ext>
                  </a:extLst>
                </a:gridCol>
                <a:gridCol w="2163018">
                  <a:extLst>
                    <a:ext uri="{9D8B030D-6E8A-4147-A177-3AD203B41FA5}">
                      <a16:colId xmlns:a16="http://schemas.microsoft.com/office/drawing/2014/main" val="2565829457"/>
                    </a:ext>
                  </a:extLst>
                </a:gridCol>
                <a:gridCol w="2163018">
                  <a:extLst>
                    <a:ext uri="{9D8B030D-6E8A-4147-A177-3AD203B41FA5}">
                      <a16:colId xmlns:a16="http://schemas.microsoft.com/office/drawing/2014/main" val="3540943450"/>
                    </a:ext>
                  </a:extLst>
                </a:gridCol>
                <a:gridCol w="1227513">
                  <a:extLst>
                    <a:ext uri="{9D8B030D-6E8A-4147-A177-3AD203B41FA5}">
                      <a16:colId xmlns:a16="http://schemas.microsoft.com/office/drawing/2014/main" val="1484824574"/>
                    </a:ext>
                  </a:extLst>
                </a:gridCol>
                <a:gridCol w="935505">
                  <a:extLst>
                    <a:ext uri="{9D8B030D-6E8A-4147-A177-3AD203B41FA5}">
                      <a16:colId xmlns:a16="http://schemas.microsoft.com/office/drawing/2014/main" val="15660643"/>
                    </a:ext>
                  </a:extLst>
                </a:gridCol>
              </a:tblGrid>
              <a:tr h="451806">
                <a:tc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200" b="0" i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av</a:t>
                      </a:r>
                      <a:r>
                        <a:rPr lang="cs-CZ" sz="1200" b="0" i="1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k 10.12.2021 0:30 hod.</a:t>
                      </a:r>
                      <a:endParaRPr lang="cs-CZ" sz="1200" b="0" i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cs-CZ" sz="1200" b="0" i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200" b="0" i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droj: ÚZIS</a:t>
                      </a:r>
                      <a:endParaRPr lang="cs-CZ" sz="1200" b="0" i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9070743"/>
                  </a:ext>
                </a:extLst>
              </a:tr>
              <a:tr h="557021">
                <a:tc gridSpan="5"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em hospitalizovaných</a:t>
                      </a:r>
                      <a:r>
                        <a:rPr lang="cs-CZ" sz="1600" b="1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PAC C+                   </a:t>
                      </a:r>
                      <a:r>
                        <a:rPr lang="cs-CZ" sz="2400" b="1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321</a:t>
                      </a:r>
                      <a:endParaRPr lang="cs-CZ" sz="2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7492961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pPr algn="ctr"/>
                      <a:r>
                        <a:rPr lang="cs-CZ" sz="14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 toho</a:t>
                      </a:r>
                      <a:endParaRPr lang="cs-CZ" sz="1400" b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 toho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9631228"/>
                  </a:ext>
                </a:extLst>
              </a:tr>
              <a:tr h="451806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očkovaní</a:t>
                      </a:r>
                      <a:endParaRPr lang="cs-CZ" sz="16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308 </a:t>
                      </a:r>
                      <a:r>
                        <a:rPr lang="cs-CZ" sz="16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52,3%)</a:t>
                      </a:r>
                      <a:endParaRPr lang="cs-CZ" sz="1600" b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C na JIP</a:t>
                      </a:r>
                      <a:endParaRPr lang="cs-CZ" sz="16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0</a:t>
                      </a:r>
                      <a:endParaRPr lang="cs-CZ" sz="16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716758"/>
                  </a:ext>
                </a:extLst>
              </a:tr>
              <a:tr h="451806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dokončené</a:t>
                      </a:r>
                      <a:r>
                        <a:rPr lang="cs-CZ" sz="1600" b="1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čko</a:t>
                      </a:r>
                      <a:endParaRPr lang="cs-CZ" sz="16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5    </a:t>
                      </a:r>
                      <a:r>
                        <a:rPr lang="cs-CZ" sz="16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3,2%)</a:t>
                      </a:r>
                      <a:endParaRPr lang="cs-CZ" sz="1600" b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 toho </a:t>
                      </a:r>
                      <a:r>
                        <a:rPr lang="cs-CZ" sz="1400" b="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očko</a:t>
                      </a:r>
                      <a:endParaRPr lang="cs-CZ" sz="1400" b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4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68 (66,8%)</a:t>
                      </a:r>
                      <a:endParaRPr lang="cs-CZ" sz="1400" b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2755086"/>
                  </a:ext>
                </a:extLst>
              </a:tr>
              <a:tr h="451806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okončené očko</a:t>
                      </a:r>
                      <a:endParaRPr lang="cs-CZ" sz="16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526  </a:t>
                      </a:r>
                      <a:r>
                        <a:rPr lang="cs-CZ" sz="16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40,5%)</a:t>
                      </a:r>
                      <a:endParaRPr lang="cs-CZ" sz="1600" b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C na standart O2</a:t>
                      </a:r>
                      <a:endParaRPr lang="cs-CZ" sz="16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321</a:t>
                      </a:r>
                      <a:endParaRPr lang="cs-CZ" sz="16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0843188"/>
                  </a:ext>
                </a:extLst>
              </a:tr>
              <a:tr h="451806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silovací dávka</a:t>
                      </a:r>
                      <a:endParaRPr lang="cs-CZ" sz="16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82    </a:t>
                      </a:r>
                      <a:r>
                        <a:rPr lang="cs-CZ" sz="16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4,5%)</a:t>
                      </a:r>
                      <a:endParaRPr lang="cs-CZ" sz="1600" b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 toho </a:t>
                      </a:r>
                      <a:r>
                        <a:rPr lang="cs-CZ" sz="1400" b="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očko</a:t>
                      </a:r>
                      <a:endParaRPr lang="cs-CZ" sz="1400" b="0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4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693 (50,6%)</a:t>
                      </a:r>
                      <a:endParaRPr lang="cs-CZ" sz="1400" b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76608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86537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37394"/>
            <a:ext cx="9885238" cy="896492"/>
          </a:xfrm>
        </p:spPr>
        <p:txBody>
          <a:bodyPr>
            <a:normAutofit/>
          </a:bodyPr>
          <a:lstStyle/>
          <a:p>
            <a:r>
              <a:rPr lang="cs-CZ" dirty="0" smtClean="0"/>
              <a:t>NDLP </a:t>
            </a:r>
            <a:r>
              <a:rPr lang="cs-CZ" dirty="0"/>
              <a:t>-</a:t>
            </a:r>
            <a:r>
              <a:rPr lang="cs-CZ" dirty="0" smtClean="0"/>
              <a:t> Souhrn - aktualizace</a:t>
            </a:r>
            <a:endParaRPr lang="cs-CZ" sz="2800" dirty="0"/>
          </a:p>
        </p:txBody>
      </p:sp>
      <p:graphicFrame>
        <p:nvGraphicFramePr>
          <p:cNvPr id="8" name="Tabulk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4994528"/>
              </p:ext>
            </p:extLst>
          </p:nvPr>
        </p:nvGraphicFramePr>
        <p:xfrm>
          <a:off x="803513" y="1619682"/>
          <a:ext cx="4777098" cy="1341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199">
                  <a:extLst>
                    <a:ext uri="{9D8B030D-6E8A-4147-A177-3AD203B41FA5}">
                      <a16:colId xmlns:a16="http://schemas.microsoft.com/office/drawing/2014/main" val="2209585095"/>
                    </a:ext>
                  </a:extLst>
                </a:gridCol>
                <a:gridCol w="2033899">
                  <a:extLst>
                    <a:ext uri="{9D8B030D-6E8A-4147-A177-3AD203B41FA5}">
                      <a16:colId xmlns:a16="http://schemas.microsoft.com/office/drawing/2014/main" val="3513835546"/>
                    </a:ext>
                  </a:extLst>
                </a:gridCol>
              </a:tblGrid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apacity lůžkové péče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k </a:t>
                      </a: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2.2021</a:t>
                      </a:r>
                      <a:endParaRPr lang="cs-CZ" sz="16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62031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</a:t>
                      </a: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2</a:t>
                      </a:r>
                      <a:endParaRPr lang="cs-CZ" sz="16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848900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ln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8,8 </a:t>
                      </a:r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4842585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sazenost C+ pac. n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2 </a:t>
                      </a: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753387"/>
                  </a:ext>
                </a:extLst>
              </a:tr>
            </a:tbl>
          </a:graphicData>
        </a:graphic>
      </p:graphicFrame>
      <p:sp>
        <p:nvSpPr>
          <p:cNvPr id="4" name="TextovéPole 3"/>
          <p:cNvSpPr txBox="1"/>
          <p:nvPr/>
        </p:nvSpPr>
        <p:spPr>
          <a:xfrm>
            <a:off x="678521" y="3577107"/>
            <a:ext cx="10568600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alší informace - aktualizace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sng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342900" lvl="0" indent="-342900">
              <a:spcAft>
                <a:spcPts val="600"/>
              </a:spcAft>
              <a:buFontTx/>
              <a:buAutoNum type="arabicParenR"/>
              <a:defRPr/>
            </a:pPr>
            <a:r>
              <a:rPr lang="cs-CZ" dirty="0" smtClean="0">
                <a:solidFill>
                  <a:prstClr val="black"/>
                </a:solidFill>
                <a:latin typeface="Segoe UI"/>
              </a:rPr>
              <a:t>KKIP – bez požadavků na NDLP, situace v krajích neměnná (omezený personál, zastavená </a:t>
            </a:r>
            <a:r>
              <a:rPr lang="cs-CZ" dirty="0" err="1" smtClean="0">
                <a:solidFill>
                  <a:prstClr val="black"/>
                </a:solidFill>
                <a:latin typeface="Segoe UI"/>
              </a:rPr>
              <a:t>elektiva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)</a:t>
            </a:r>
          </a:p>
          <a:p>
            <a:pPr marL="342900" lvl="0" indent="-342900">
              <a:spcAft>
                <a:spcPts val="600"/>
              </a:spcAft>
              <a:buFontTx/>
              <a:buAutoNum type="arabicParenR"/>
              <a:defRPr/>
            </a:pPr>
            <a:r>
              <a:rPr lang="cs-CZ" dirty="0" err="1" smtClean="0">
                <a:solidFill>
                  <a:prstClr val="black"/>
                </a:solidFill>
                <a:latin typeface="Segoe UI"/>
              </a:rPr>
              <a:t>Covid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 vrtulníky PČR + AČR – přechod do </a:t>
            </a:r>
            <a:r>
              <a:rPr lang="cs-CZ" dirty="0" err="1" smtClean="0">
                <a:solidFill>
                  <a:prstClr val="black"/>
                </a:solidFill>
                <a:latin typeface="Segoe UI"/>
              </a:rPr>
              <a:t>stand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 by režimu (ukončení činnosti) od 11.12.2021 pro nevytíženost. Přechod do pohotovostního režimu by se řešil při zhoršující se situaci.</a:t>
            </a:r>
          </a:p>
          <a:p>
            <a:pPr marL="342900" lvl="0" indent="-342900">
              <a:spcAft>
                <a:spcPts val="600"/>
              </a:spcAft>
              <a:buFontTx/>
              <a:buAutoNum type="arabicParenR"/>
              <a:defRPr/>
            </a:pPr>
            <a:endParaRPr lang="cs-CZ" dirty="0" smtClean="0">
              <a:solidFill>
                <a:prstClr val="black"/>
              </a:solidFill>
              <a:latin typeface="Segoe UI"/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5836778" y="2028328"/>
            <a:ext cx="525489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u="sng" dirty="0" smtClean="0"/>
              <a:t>Hodnocení:</a:t>
            </a:r>
          </a:p>
          <a:p>
            <a:r>
              <a:rPr lang="cs-CZ" dirty="0" smtClean="0"/>
              <a:t>Uvedené kapacity a obsazenost JIP v posledním týdnu oscilují kolem uvedených hodnot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830448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1308184"/>
              </p:ext>
            </p:extLst>
          </p:nvPr>
        </p:nvGraphicFramePr>
        <p:xfrm>
          <a:off x="367815" y="761755"/>
          <a:ext cx="11405086" cy="6224448"/>
        </p:xfrm>
        <a:graphic>
          <a:graphicData uri="http://schemas.openxmlformats.org/drawingml/2006/table">
            <a:tbl>
              <a:tblPr firstRow="1" firstCol="1" bandRow="1"/>
              <a:tblGrid>
                <a:gridCol w="1399893">
                  <a:extLst>
                    <a:ext uri="{9D8B030D-6E8A-4147-A177-3AD203B41FA5}">
                      <a16:colId xmlns:a16="http://schemas.microsoft.com/office/drawing/2014/main" val="139736479"/>
                    </a:ext>
                  </a:extLst>
                </a:gridCol>
                <a:gridCol w="2170199">
                  <a:extLst>
                    <a:ext uri="{9D8B030D-6E8A-4147-A177-3AD203B41FA5}">
                      <a16:colId xmlns:a16="http://schemas.microsoft.com/office/drawing/2014/main" val="1590847519"/>
                    </a:ext>
                  </a:extLst>
                </a:gridCol>
                <a:gridCol w="2420126">
                  <a:extLst>
                    <a:ext uri="{9D8B030D-6E8A-4147-A177-3AD203B41FA5}">
                      <a16:colId xmlns:a16="http://schemas.microsoft.com/office/drawing/2014/main" val="2576979814"/>
                    </a:ext>
                  </a:extLst>
                </a:gridCol>
                <a:gridCol w="2079315">
                  <a:extLst>
                    <a:ext uri="{9D8B030D-6E8A-4147-A177-3AD203B41FA5}">
                      <a16:colId xmlns:a16="http://schemas.microsoft.com/office/drawing/2014/main" val="2056688962"/>
                    </a:ext>
                  </a:extLst>
                </a:gridCol>
                <a:gridCol w="3335553">
                  <a:extLst>
                    <a:ext uri="{9D8B030D-6E8A-4147-A177-3AD203B41FA5}">
                      <a16:colId xmlns:a16="http://schemas.microsoft.com/office/drawing/2014/main" val="573671383"/>
                    </a:ext>
                  </a:extLst>
                </a:gridCol>
              </a:tblGrid>
              <a:tr h="74033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0206147"/>
                  </a:ext>
                </a:extLst>
              </a:tr>
              <a:tr h="131276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l. m. Prah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etrvale kapacitní problémy FTN a</a:t>
                      </a:r>
                      <a:b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NKV, ostatní navyšují kapacity dle potřeby, snaha o maximální zachování</a:t>
                      </a:r>
                      <a:b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30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  <a:p>
                      <a:pPr marL="0" indent="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cs-CZ" sz="1300" b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TN žádá o zastavení přísunu</a:t>
                      </a:r>
                      <a:r>
                        <a:rPr lang="cs-CZ" sz="1300" b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C+ pac. z důvodu úplného vyčerpání kapacit IP.</a:t>
                      </a:r>
                    </a:p>
                    <a:p>
                      <a:pPr marL="0" indent="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cs-CZ" sz="1300" b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mocnice na Bulovce </a:t>
                      </a:r>
                      <a:r>
                        <a:rPr lang="cs-CZ" sz="1300" b="0" kern="1200" baseline="0" dirty="0" err="1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lasí</a:t>
                      </a:r>
                      <a:r>
                        <a:rPr lang="cs-CZ" sz="1300" b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 </a:t>
                      </a:r>
                      <a:r>
                        <a:rPr lang="cs-CZ" sz="1300" b="0" kern="1200" baseline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apacity  chirurgického JIP.</a:t>
                      </a:r>
                      <a:endParaRPr lang="cs-CZ" sz="1300" b="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1312754"/>
                  </a:ext>
                </a:extLst>
              </a:tr>
              <a:tr h="147797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rdubi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ní provoz prakticky plně zastaven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Onkologická aj. neodkladná operativa běží bez omezení. Situace na úrovni „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lateau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“, maximalizovány kapacity standardní i intenzivní péče, menší rezerva lůžek zůstává. Další navýšení kapacit by ale již bylo velmi problematické. Krizovou situaci nelze nadále vyloučit.</a:t>
                      </a:r>
                      <a:endParaRPr lang="cs-CZ" sz="130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9805074"/>
                  </a:ext>
                </a:extLst>
              </a:tr>
              <a:tr h="8770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álovéhrad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2850101"/>
                  </a:ext>
                </a:extLst>
              </a:tr>
              <a:tr h="74033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ravskoslez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JIPy plné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zastavená; akutní problémy jednotlivých ZZ řešeny ve spolupráci s dispečinkem ZZS MSK a/anebo mezi nemocničními transporty v rámci kraje, při stávajících trendech a predikcích by situace měla být nadále řešitelná v rámci kraj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07362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80660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0720369"/>
              </p:ext>
            </p:extLst>
          </p:nvPr>
        </p:nvGraphicFramePr>
        <p:xfrm>
          <a:off x="279292" y="841021"/>
          <a:ext cx="11587543" cy="4813425"/>
        </p:xfrm>
        <a:graphic>
          <a:graphicData uri="http://schemas.openxmlformats.org/drawingml/2006/table">
            <a:tbl>
              <a:tblPr firstRow="1" firstCol="1" bandRow="1"/>
              <a:tblGrid>
                <a:gridCol w="1422287">
                  <a:extLst>
                    <a:ext uri="{9D8B030D-6E8A-4147-A177-3AD203B41FA5}">
                      <a16:colId xmlns:a16="http://schemas.microsoft.com/office/drawing/2014/main" val="2516720382"/>
                    </a:ext>
                  </a:extLst>
                </a:gridCol>
                <a:gridCol w="2204916">
                  <a:extLst>
                    <a:ext uri="{9D8B030D-6E8A-4147-A177-3AD203B41FA5}">
                      <a16:colId xmlns:a16="http://schemas.microsoft.com/office/drawing/2014/main" val="2538168158"/>
                    </a:ext>
                  </a:extLst>
                </a:gridCol>
                <a:gridCol w="2458844">
                  <a:extLst>
                    <a:ext uri="{9D8B030D-6E8A-4147-A177-3AD203B41FA5}">
                      <a16:colId xmlns:a16="http://schemas.microsoft.com/office/drawing/2014/main" val="1374489751"/>
                    </a:ext>
                  </a:extLst>
                </a:gridCol>
                <a:gridCol w="2112580">
                  <a:extLst>
                    <a:ext uri="{9D8B030D-6E8A-4147-A177-3AD203B41FA5}">
                      <a16:colId xmlns:a16="http://schemas.microsoft.com/office/drawing/2014/main" val="2988357666"/>
                    </a:ext>
                  </a:extLst>
                </a:gridCol>
                <a:gridCol w="3388916">
                  <a:extLst>
                    <a:ext uri="{9D8B030D-6E8A-4147-A177-3AD203B41FA5}">
                      <a16:colId xmlns:a16="http://schemas.microsoft.com/office/drawing/2014/main" val="3364315349"/>
                    </a:ext>
                  </a:extLst>
                </a:gridCol>
              </a:tblGrid>
              <a:tr h="5910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5793804"/>
                  </a:ext>
                </a:extLst>
              </a:tr>
              <a:tr h="11889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ber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ochází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k o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ezení kapacity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pacienty v IP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 jednání KŠ kraje: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</a:t>
                      </a:r>
                      <a:r>
                        <a:rPr lang="cs-CZ" sz="1300" b="0" i="0" kern="1200" dirty="0" err="1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v páteřních </a:t>
                      </a:r>
                      <a:r>
                        <a:rPr lang="cs-CZ" sz="1300" b="0" i="0" kern="1200" baseline="0" dirty="0" err="1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</a:t>
                      </a:r>
                      <a:r>
                        <a:rPr lang="cs-CZ" sz="1300" b="0" i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kraje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i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dostatek zdravotníků v LBK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9838243"/>
                  </a:ext>
                </a:extLst>
              </a:tr>
              <a:tr h="138213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lomouc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omezená cca 40-50%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P - vysoká, ale t.č. konstant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bložnost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částečně podíl vysoké mortality v IP)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ajištěn akutní provoz (neodkladné stavy,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nkoopera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)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rvá problém s nedostatkem kvalifikovaného personálu zejména v IP. 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2932507"/>
                  </a:ext>
                </a:extLst>
              </a:tr>
              <a:tr h="139997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zeňs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ktuálně stagnace počtu hospitalizovaných ve standardní péči. V rámci Intenzivní péče dochází ke kumulaci pacientů s potřebou ventilační podpory i </a:t>
                      </a:r>
                      <a:r>
                        <a:rPr lang="cs-CZ" sz="1300" b="0" i="0" kern="1200" dirty="0" err="1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</a:t>
                      </a: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vypadávají z oficiálních statistik, ale stále blokují lůžka vyšší IP!!)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řetrvává omezení operativy na akutní a nutnou onkologickou.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50780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98965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5307675"/>
              </p:ext>
            </p:extLst>
          </p:nvPr>
        </p:nvGraphicFramePr>
        <p:xfrm>
          <a:off x="350228" y="664385"/>
          <a:ext cx="11519385" cy="5863341"/>
        </p:xfrm>
        <a:graphic>
          <a:graphicData uri="http://schemas.openxmlformats.org/drawingml/2006/table">
            <a:tbl>
              <a:tblPr firstRow="1" firstCol="1" bandRow="1"/>
              <a:tblGrid>
                <a:gridCol w="1413921">
                  <a:extLst>
                    <a:ext uri="{9D8B030D-6E8A-4147-A177-3AD203B41FA5}">
                      <a16:colId xmlns:a16="http://schemas.microsoft.com/office/drawing/2014/main" val="3772522195"/>
                    </a:ext>
                  </a:extLst>
                </a:gridCol>
                <a:gridCol w="2191947">
                  <a:extLst>
                    <a:ext uri="{9D8B030D-6E8A-4147-A177-3AD203B41FA5}">
                      <a16:colId xmlns:a16="http://schemas.microsoft.com/office/drawing/2014/main" val="842899262"/>
                    </a:ext>
                  </a:extLst>
                </a:gridCol>
                <a:gridCol w="2444381">
                  <a:extLst>
                    <a:ext uri="{9D8B030D-6E8A-4147-A177-3AD203B41FA5}">
                      <a16:colId xmlns:a16="http://schemas.microsoft.com/office/drawing/2014/main" val="105783194"/>
                    </a:ext>
                  </a:extLst>
                </a:gridCol>
                <a:gridCol w="2100154">
                  <a:extLst>
                    <a:ext uri="{9D8B030D-6E8A-4147-A177-3AD203B41FA5}">
                      <a16:colId xmlns:a16="http://schemas.microsoft.com/office/drawing/2014/main" val="3894075409"/>
                    </a:ext>
                  </a:extLst>
                </a:gridCol>
                <a:gridCol w="3368982">
                  <a:extLst>
                    <a:ext uri="{9D8B030D-6E8A-4147-A177-3AD203B41FA5}">
                      <a16:colId xmlns:a16="http://schemas.microsoft.com/office/drawing/2014/main" val="2922963808"/>
                    </a:ext>
                  </a:extLst>
                </a:gridCol>
              </a:tblGrid>
              <a:tr h="60313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8164548"/>
                  </a:ext>
                </a:extLst>
              </a:tr>
              <a:tr h="7406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arlovarský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ocnice Sokolov – zcela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zastavena el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ktivní operativ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8287979"/>
                  </a:ext>
                </a:extLst>
              </a:tr>
              <a:tr h="74734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če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Je méně pacientů na HFNO, ale </a:t>
                      </a: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lní se JIP + ARO s pacienty na UPV</a:t>
                      </a:r>
                      <a:endParaRPr lang="cs-CZ" sz="13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6967152"/>
                  </a:ext>
                </a:extLst>
              </a:tr>
              <a:tr h="135713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ředočeský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elkové hodnocení situace – zatím bez potřeby přesunů pacientů mimo spádovou oblast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operativy je nerovnoměrné, někde pouze akutní operativa, jinde ještě omezení do 20%. Souhrnně mezi C/D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623958"/>
                  </a:ext>
                </a:extLst>
              </a:tr>
              <a:tr h="11342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morav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né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blémy nyní již celoplošně v JMK.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yjovská nemocnice vyhlásila HPO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N Brno omezuje ambulantní péči</a:t>
                      </a:r>
                      <a:r>
                        <a:rPr lang="cs-CZ" sz="1300" b="0" baseline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z důvodu </a:t>
                      </a: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dostatek personálu. 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írné zlepšení situace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bez potřeby mezikrajských překladů.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002855"/>
                  </a:ext>
                </a:extLst>
              </a:tr>
              <a:tr h="115052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ysočin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přímo řízených nemocnicích kraje (Jihlava, Pelhřimov,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vlBro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Třebíč, Nové Město n/M).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obdobná, zatím bez překladů v rámci kraje.</a:t>
                      </a:r>
                      <a:endParaRPr lang="cs-CZ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89813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93951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2.xml><?xml version="1.0" encoding="utf-8"?>
<a:theme xmlns:a="http://schemas.openxmlformats.org/drawingml/2006/main" name="1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+Sagoe">
      <a:majorFont>
        <a:latin typeface="Arial"/>
        <a:ea typeface=""/>
        <a:cs typeface=""/>
      </a:majorFont>
      <a:minorFont>
        <a:latin typeface="Segoe U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reporting-20200715</Template>
  <TotalTime>22745</TotalTime>
  <Words>1904</Words>
  <Application>Microsoft Office PowerPoint</Application>
  <PresentationFormat>Širokoúhlá obrazovka</PresentationFormat>
  <Paragraphs>532</Paragraphs>
  <Slides>10</Slides>
  <Notes>4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10</vt:i4>
      </vt:variant>
    </vt:vector>
  </HeadingPairs>
  <TitlesOfParts>
    <vt:vector size="17" baseType="lpstr">
      <vt:lpstr>Arial</vt:lpstr>
      <vt:lpstr>Arial Black</vt:lpstr>
      <vt:lpstr>Calibri</vt:lpstr>
      <vt:lpstr>Segoe UI</vt:lpstr>
      <vt:lpstr>Times New Roman</vt:lpstr>
      <vt:lpstr>Motiv Office</vt:lpstr>
      <vt:lpstr>1_Motiv Office</vt:lpstr>
      <vt:lpstr>Operační briefing ICŘT   Národní dispečink lůžkové péče </vt:lpstr>
      <vt:lpstr>Národní dispečink lůžkové péče</vt:lpstr>
      <vt:lpstr>Národní dispečink lůžkové péče</vt:lpstr>
      <vt:lpstr>Národní dispečink lůžkové péče</vt:lpstr>
      <vt:lpstr>NDLP – Přehled hospitalizací C+ k 10.12.2021 0:30 hod.</vt:lpstr>
      <vt:lpstr>NDLP - Souhrn - aktualizace</vt:lpstr>
      <vt:lpstr>Hodnocení situace v krajích od KKIP</vt:lpstr>
      <vt:lpstr>Hodnocení situace v krajích od KKIP</vt:lpstr>
      <vt:lpstr>Hodnocení situace v krajích od KKIP</vt:lpstr>
      <vt:lpstr>Hodnocení situace v krajích od KKI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Uživatel</cp:lastModifiedBy>
  <cp:revision>1692</cp:revision>
  <cp:lastPrinted>2020-10-20T04:21:56Z</cp:lastPrinted>
  <dcterms:created xsi:type="dcterms:W3CDTF">2020-07-15T10:33:32Z</dcterms:created>
  <dcterms:modified xsi:type="dcterms:W3CDTF">2021-12-12T15:12:13Z</dcterms:modified>
</cp:coreProperties>
</file>